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sldIdLst>
    <p:sldId id="256" r:id="rId3"/>
    <p:sldId id="1074" r:id="rId4"/>
    <p:sldId id="1075" r:id="rId5"/>
    <p:sldId id="1078" r:id="rId6"/>
    <p:sldId id="1079" r:id="rId7"/>
    <p:sldId id="1080" r:id="rId8"/>
    <p:sldId id="1081" r:id="rId9"/>
    <p:sldId id="1082" r:id="rId10"/>
    <p:sldId id="1083" r:id="rId11"/>
    <p:sldId id="1085" r:id="rId12"/>
    <p:sldId id="1086" r:id="rId13"/>
    <p:sldId id="1087" r:id="rId14"/>
    <p:sldId id="1088" r:id="rId15"/>
    <p:sldId id="1089" r:id="rId16"/>
    <p:sldId id="1090" r:id="rId17"/>
    <p:sldId id="1091" r:id="rId18"/>
    <p:sldId id="1092" r:id="rId19"/>
    <p:sldId id="1076" r:id="rId20"/>
    <p:sldId id="1077" r:id="rId21"/>
    <p:sldId id="1093" r:id="rId22"/>
    <p:sldId id="1094" r:id="rId2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706" autoAdjust="0"/>
  </p:normalViewPr>
  <p:slideViewPr>
    <p:cSldViewPr snapToGrid="0">
      <p:cViewPr varScale="1">
        <p:scale>
          <a:sx n="76" d="100"/>
          <a:sy n="76" d="100"/>
        </p:scale>
        <p:origin x="946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5-09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95114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0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5-09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5-09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7.png"/><Relationship Id="rId4" Type="http://schemas.openxmlformats.org/officeDocument/2006/relationships/image" Target="../media/image9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5" y="4454732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581835"/>
            <a:ext cx="9649641" cy="58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5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B5D11F3A-C8C3-A6BA-FCD2-A65C5A693A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-750"/>
          <a:stretch/>
        </p:blipFill>
        <p:spPr>
          <a:xfrm>
            <a:off x="263781" y="3227700"/>
            <a:ext cx="10432794" cy="3156472"/>
          </a:xfrm>
          <a:prstGeom prst="rect">
            <a:avLst/>
          </a:prstGeom>
        </p:spPr>
      </p:pic>
      <p:sp>
        <p:nvSpPr>
          <p:cNvPr id="6" name="AutoShape 2">
            <a:extLst>
              <a:ext uri="{FF2B5EF4-FFF2-40B4-BE49-F238E27FC236}">
                <a16:creationId xmlns:a16="http://schemas.microsoft.com/office/drawing/2014/main" id="{5531F610-36E9-5031-0A20-C251D20A6A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blation study (2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CD40C1-B636-A79A-B52F-85A4DE5D5CFF}"/>
              </a:ext>
            </a:extLst>
          </p:cNvPr>
          <p:cNvSpPr txBox="1"/>
          <p:nvPr/>
        </p:nvSpPr>
        <p:spPr>
          <a:xfrm>
            <a:off x="255715" y="1260507"/>
            <a:ext cx="11775819" cy="1846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이미지 수에 따른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DIM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Core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SPAD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의 성능을 비교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가지는 </a:t>
            </a:r>
            <a:r>
              <a:rPr lang="ko-KR" altLang="en-US" sz="1300" dirty="0">
                <a:solidFill>
                  <a:srgbClr val="0070C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장점 </a:t>
            </a:r>
            <a:endParaRPr lang="en-US" altLang="ko-KR" sz="1300" dirty="0">
              <a:solidFill>
                <a:srgbClr val="0070C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학습 과정이 별도로 필요가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적은 데이터셋만으로도 충분히 높은 성능을 끌어낼 수 있음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가지는 </a:t>
            </a:r>
            <a:r>
              <a:rPr lang="ko-KR" altLang="en-US" sz="130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점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한 이미지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ferenc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과정이 평균 약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0.6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초 소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Flow model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비해서는 느림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00B364-E9BB-2C74-293F-FA183A0FC945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4194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>
            <a:extLst>
              <a:ext uri="{FF2B5EF4-FFF2-40B4-BE49-F238E27FC236}">
                <a16:creationId xmlns:a16="http://schemas.microsoft.com/office/drawing/2014/main" id="{9D9A5CBD-FE7D-A279-834B-FCF132B62303}"/>
              </a:ext>
            </a:extLst>
          </p:cNvPr>
          <p:cNvGrpSpPr/>
          <p:nvPr/>
        </p:nvGrpSpPr>
        <p:grpSpPr>
          <a:xfrm>
            <a:off x="254053" y="883451"/>
            <a:ext cx="7956497" cy="2231223"/>
            <a:chOff x="254053" y="883452"/>
            <a:chExt cx="8127947" cy="2131648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4295082E-7933-DEC7-C73E-0F3F599B9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3" y="883452"/>
              <a:ext cx="8127947" cy="2131648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6B386977-E400-FA92-8AB4-2EEE5510DEC1}"/>
                </a:ext>
              </a:extLst>
            </p:cNvPr>
            <p:cNvSpPr/>
            <p:nvPr/>
          </p:nvSpPr>
          <p:spPr>
            <a:xfrm>
              <a:off x="380999" y="2335828"/>
              <a:ext cx="2886075" cy="559771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7787A23-066E-76AF-5C45-49BB4ED73CA5}"/>
              </a:ext>
            </a:extLst>
          </p:cNvPr>
          <p:cNvSpPr txBox="1"/>
          <p:nvPr/>
        </p:nvSpPr>
        <p:spPr>
          <a:xfrm>
            <a:off x="330455" y="3133724"/>
            <a:ext cx="10108945" cy="1787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/>
              <a:t>[Feature-embedding method]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Teacher-Student net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One class classif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Distribution map : fast flow model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Memory bank</a:t>
            </a:r>
            <a:endParaRPr lang="ko-KR" altLang="en-US" sz="150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84F6412-F6F7-B94F-B0B6-F06E3EE4EEE9}"/>
              </a:ext>
            </a:extLst>
          </p:cNvPr>
          <p:cNvSpPr/>
          <p:nvPr/>
        </p:nvSpPr>
        <p:spPr>
          <a:xfrm>
            <a:off x="587871" y="4226376"/>
            <a:ext cx="2879229" cy="355149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A4A63F-FFFF-A4F9-6F36-D4F66162612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(Distribution map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F967D-9BB5-688E-0AC4-1880567885F1}"/>
              </a:ext>
            </a:extLst>
          </p:cNvPr>
          <p:cNvSpPr txBox="1"/>
          <p:nvPr/>
        </p:nvSpPr>
        <p:spPr>
          <a:xfrm>
            <a:off x="3894266" y="3162298"/>
            <a:ext cx="8079562" cy="64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복잡한 정상 데이터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를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aussian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p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는 것이 목적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ormalizing flow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법에 기반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1501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39738A0-800C-9325-B7F1-809B43834EC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(Distribution map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0BECAF8C-1E5D-E771-40AB-ADAD54C943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Normalizing flo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468F888-CD5E-7164-0CED-CECBBE9EF523}"/>
                  </a:ext>
                </a:extLst>
              </p:cNvPr>
              <p:cNvSpPr txBox="1"/>
              <p:nvPr/>
            </p:nvSpPr>
            <p:spPr>
              <a:xfrm>
                <a:off x="1085564" y="1736661"/>
                <a:ext cx="2352959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𝑝</m:t>
                      </m:r>
                      <m:d>
                        <m:dPr>
                          <m:ctrlPr>
                            <a:rPr lang="en-US" altLang="ko-KR" sz="15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R" sz="15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</m:oMath>
                  </m:oMathPara>
                </a14:m>
                <a:endParaRPr lang="en-US" altLang="ko-KR" sz="1500" b="0" dirty="0"/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ko-KR" sz="15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ko-KR" altLang="en-US" sz="15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468F888-CD5E-7164-0CED-CECBBE9EF5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5564" y="1736661"/>
                <a:ext cx="2352959" cy="78483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1CA6AB6-9E08-FF3F-340C-1D9129451F59}"/>
                  </a:ext>
                </a:extLst>
              </p:cNvPr>
              <p:cNvSpPr txBox="1"/>
              <p:nvPr/>
            </p:nvSpPr>
            <p:spPr>
              <a:xfrm>
                <a:off x="336678" y="1342787"/>
                <a:ext cx="11518644" cy="39453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altLang="ko-KR" sz="1300" dirty="0"/>
                  <a:t>1) </a:t>
                </a:r>
                <a:r>
                  <a:rPr lang="ko-KR" altLang="en-US" sz="1300" dirty="0"/>
                  <a:t>랜덤 변수 </a:t>
                </a:r>
                <a:r>
                  <a:rPr lang="en-US" altLang="ko-KR" sz="1300" dirty="0"/>
                  <a:t>x</a:t>
                </a:r>
                <a:r>
                  <a:rPr lang="ko-KR" altLang="en-US" sz="1300" dirty="0"/>
                  <a:t>와 </a:t>
                </a:r>
                <a:r>
                  <a:rPr lang="en-US" altLang="ko-KR" sz="1300" dirty="0"/>
                  <a:t>z</a:t>
                </a:r>
                <a:r>
                  <a:rPr lang="ko-KR" altLang="en-US" sz="1300" dirty="0"/>
                  <a:t>에 대한 확률 밀도 함수를 다음과 같이 정의</a:t>
                </a:r>
                <a:endParaRPr lang="en-US" altLang="ko-KR" sz="1300" dirty="0"/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en-US" altLang="ko-KR" sz="1300" dirty="0"/>
              </a:p>
              <a:p>
                <a:pPr>
                  <a:lnSpc>
                    <a:spcPct val="200000"/>
                  </a:lnSpc>
                </a:pPr>
                <a:endParaRPr lang="en-US" altLang="ko-KR" sz="1300" dirty="0"/>
              </a:p>
              <a:p>
                <a:pPr>
                  <a:lnSpc>
                    <a:spcPct val="200000"/>
                  </a:lnSpc>
                </a:pPr>
                <a:r>
                  <a:rPr lang="en-US" altLang="ko-KR" sz="1300" dirty="0"/>
                  <a:t>2)</a:t>
                </a:r>
                <a:r>
                  <a:rPr lang="ko-KR" altLang="en-US" sz="1300" dirty="0"/>
                  <a:t> 전제</a:t>
                </a:r>
                <a:endParaRPr lang="en-US" altLang="ko-KR" sz="1300" dirty="0"/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altLang="ko-KR" sz="13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ko-KR" sz="1300" dirty="0">
                    <a:solidFill>
                      <a:srgbClr val="FF0000"/>
                    </a:solidFill>
                  </a:rPr>
                  <a:t>  : z</a:t>
                </a:r>
                <a:r>
                  <a:rPr lang="ko-KR" altLang="en-US" sz="1300" dirty="0">
                    <a:solidFill>
                      <a:srgbClr val="FF0000"/>
                    </a:solidFill>
                  </a:rPr>
                  <a:t>가 </a:t>
                </a:r>
                <a:r>
                  <a:rPr lang="en-US" altLang="ko-KR" sz="1300" dirty="0">
                    <a:solidFill>
                      <a:srgbClr val="FF0000"/>
                    </a:solidFill>
                  </a:rPr>
                  <a:t>x</a:t>
                </a:r>
                <a:r>
                  <a:rPr lang="ko-KR" altLang="en-US" sz="1300" dirty="0">
                    <a:solidFill>
                      <a:srgbClr val="FF0000"/>
                    </a:solidFill>
                  </a:rPr>
                  <a:t>를 표현할 수 있는 잠재 변수</a:t>
                </a:r>
                <a:endParaRPr lang="en-US" altLang="ko-KR" sz="1300" dirty="0">
                  <a:solidFill>
                    <a:srgbClr val="FF0000"/>
                  </a:solidFill>
                </a:endParaRP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>
                    <a:solidFill>
                      <a:srgbClr val="FF0000"/>
                    </a:solidFill>
                  </a:rPr>
                  <a:t>f</a:t>
                </a:r>
                <a:r>
                  <a:rPr lang="ko-KR" altLang="en-US" sz="1300" dirty="0">
                    <a:solidFill>
                      <a:srgbClr val="FF0000"/>
                    </a:solidFill>
                  </a:rPr>
                  <a:t>의 역함수가 존재</a:t>
                </a:r>
                <a:endParaRPr lang="en-US" altLang="ko-KR" sz="1300" dirty="0">
                  <a:solidFill>
                    <a:srgbClr val="FF0000"/>
                  </a:solidFill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300" dirty="0"/>
                  <a:t>3) </a:t>
                </a:r>
                <a14:m>
                  <m:oMath xmlns:m="http://schemas.openxmlformats.org/officeDocument/2006/math">
                    <m:nary>
                      <m:naryPr>
                        <m:limLoc m:val="undOvr"/>
                        <m:subHide m:val="on"/>
                        <m:supHide m:val="on"/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  <m:d>
                          <m:dPr>
                            <m:ctrlP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𝑑𝑥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=∫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  <m:d>
                          <m:dPr>
                            <m:ctrlP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</m:d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𝑑𝑧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e>
                    </m:nary>
                  </m:oMath>
                </a14:m>
                <a:endParaRPr lang="en-US" altLang="ko-KR" sz="1300" dirty="0"/>
              </a:p>
              <a:p>
                <a:pPr>
                  <a:lnSpc>
                    <a:spcPct val="200000"/>
                  </a:lnSpc>
                </a:pPr>
                <a:r>
                  <a:rPr lang="en-US" altLang="ko-KR" sz="1300" dirty="0"/>
                  <a:t>    </a:t>
                </a:r>
                <a14:m>
                  <m:oMath xmlns:m="http://schemas.openxmlformats.org/officeDocument/2006/math"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∫</m:t>
                    </m:r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𝑝</m:t>
                    </m:r>
                    <m:d>
                      <m:dPr>
                        <m:ctrlP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𝑑𝑥</m:t>
                    </m:r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=∫</m:t>
                    </m:r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𝑝</m:t>
                    </m:r>
                    <m:d>
                      <m:dPr>
                        <m:ctrlP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p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p>
                        </m:sSup>
                        <m:d>
                          <m:dPr>
                            <m:ctrlP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d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𝑑</m:t>
                    </m:r>
                    <m:sSup>
                      <m:sSupPr>
                        <m:ctrlPr>
                          <a:rPr lang="en-US" altLang="ko-KR" sz="13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ko-KR" sz="1300" i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en-US" altLang="ko-KR" sz="1300" i="1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altLang="ko-KR" sz="13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3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300" b="0" i="0" smtClean="0">
                        <a:latin typeface="Cambria Math" panose="02040503050406030204" pitchFamily="18" charset="0"/>
                      </a:rPr>
                      <m:t>→  </m:t>
                    </m:r>
                    <m:r>
                      <m:rPr>
                        <m:sty m:val="p"/>
                      </m:rPr>
                      <a:rPr lang="en-US" altLang="ko-KR" sz="1300" b="0" i="0" smtClean="0">
                        <a:latin typeface="Cambria Math" panose="02040503050406030204" pitchFamily="18" charset="0"/>
                      </a:rPr>
                      <m:t>p</m:t>
                    </m:r>
                    <m:d>
                      <m:dPr>
                        <m:ctrlP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altLang="ko-KR" sz="1300" b="0" i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</m:d>
                    <m:r>
                      <a:rPr lang="en-US" altLang="ko-KR" sz="13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altLang="ko-KR" sz="1300" b="0" i="0" smtClean="0">
                        <a:latin typeface="Cambria Math" panose="02040503050406030204" pitchFamily="18" charset="0"/>
                      </a:rPr>
                      <m:t>p</m:t>
                    </m:r>
                    <m:d>
                      <m:dPr>
                        <m:ctrlP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altLang="ko-KR" sz="1300" b="0" i="0" smtClean="0">
                            <a:latin typeface="Cambria Math" panose="02040503050406030204" pitchFamily="18" charset="0"/>
                          </a:rPr>
                          <m:t>z</m:t>
                        </m:r>
                      </m:e>
                    </m:d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∙</m:t>
                    </m:r>
                    <m:d>
                      <m:dPr>
                        <m:begChr m:val="|"/>
                        <m:endChr m:val="|"/>
                        <m:ctrlP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ko-KR" sz="1300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sSup>
                              <m:sSupPr>
                                <m:ctrlPr>
                                  <a:rPr lang="en-US" altLang="ko-KR" sz="13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ko-KR" sz="13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p>
                                <m:r>
                                  <a:rPr lang="en-US" altLang="ko-KR" sz="1300" i="1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p>
                            <m:d>
                              <m:dPr>
                                <m:ctrlPr>
                                  <a:rPr lang="en-US" altLang="ko-KR" sz="13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ko-KR" sz="13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d>
                          </m:num>
                          <m:den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𝑑𝑥</m:t>
                            </m:r>
                          </m:den>
                        </m:f>
                      </m:e>
                    </m:d>
                  </m:oMath>
                </a14:m>
                <a:endParaRPr lang="en-US" altLang="ko-KR" sz="1300" b="0" dirty="0"/>
              </a:p>
              <a:p>
                <a:pPr>
                  <a:lnSpc>
                    <a:spcPct val="200000"/>
                  </a:lnSpc>
                </a:pPr>
                <a:r>
                  <a:rPr lang="ko-KR" altLang="en-US" sz="1300" dirty="0"/>
                  <a:t>결론</a:t>
                </a:r>
                <a:r>
                  <a:rPr lang="en-US" altLang="ko-KR" sz="1300" dirty="0"/>
                  <a:t>: </a:t>
                </a:r>
                <a:r>
                  <a:rPr lang="ko-KR" altLang="en-US" sz="1300" dirty="0"/>
                  <a:t>알지 못하는 </a:t>
                </a:r>
                <a:r>
                  <a:rPr lang="en-US" altLang="ko-KR" sz="1300" dirty="0"/>
                  <a:t>p(x) </a:t>
                </a:r>
                <a:r>
                  <a:rPr lang="ko-KR" altLang="en-US" sz="1300" dirty="0"/>
                  <a:t>확률 분포를 </a:t>
                </a:r>
                <a:r>
                  <a:rPr lang="en-US" altLang="ko-KR" sz="1300" dirty="0"/>
                  <a:t>z</a:t>
                </a:r>
                <a:r>
                  <a:rPr lang="ko-KR" altLang="en-US" sz="1300" dirty="0"/>
                  <a:t>의 확률 밀도 함수로 표현 가능</a:t>
                </a:r>
                <a:endParaRPr lang="en-US" altLang="ko-KR" sz="13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1CA6AB6-9E08-FF3F-340C-1D9129451F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678" y="1342787"/>
                <a:ext cx="11518644" cy="3945375"/>
              </a:xfrm>
              <a:prstGeom prst="rect">
                <a:avLst/>
              </a:prstGeom>
              <a:blipFill>
                <a:blip r:embed="rId3"/>
                <a:stretch>
                  <a:fillRect l="-899" b="-46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77FD5D25-9962-9387-8DC5-DA3A90FAC63C}"/>
              </a:ext>
            </a:extLst>
          </p:cNvPr>
          <p:cNvCxnSpPr/>
          <p:nvPr/>
        </p:nvCxnSpPr>
        <p:spPr>
          <a:xfrm>
            <a:off x="5534025" y="952500"/>
            <a:ext cx="0" cy="5629275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D6AEA7D-094B-48EC-B6BF-8B203EC2AEEB}"/>
                  </a:ext>
                </a:extLst>
              </p:cNvPr>
              <p:cNvSpPr txBox="1"/>
              <p:nvPr/>
            </p:nvSpPr>
            <p:spPr>
              <a:xfrm>
                <a:off x="5605823" y="805055"/>
                <a:ext cx="6332124" cy="53394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US" altLang="ko-KR" sz="1300" dirty="0"/>
                  <a:t>4) </a:t>
                </a:r>
                <a:r>
                  <a:rPr lang="ko-KR" altLang="en-US" sz="1300" dirty="0"/>
                  <a:t>고차원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 </a:t>
                </a:r>
                <a:r>
                  <a:rPr lang="ko-KR" altLang="en-US" sz="1300" dirty="0" err="1">
                    <a:sym typeface="Wingdings" panose="05000000000000000000" pitchFamily="2" charset="2"/>
                  </a:rPr>
                  <a:t>다변수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 관점으로 변환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(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행렬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)</a:t>
                </a: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altLang="ko-KR" sz="13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R" sz="13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US" altLang="ko-KR" sz="1300" b="0" i="1" smtClean="0">
                          <a:latin typeface="Cambria Math" panose="02040503050406030204" pitchFamily="18" charset="0"/>
                        </a:rPr>
                        <m:t>)∙</m:t>
                      </m:r>
                      <m:d>
                        <m:dPr>
                          <m:begChr m:val="|"/>
                          <m:endChr m:val="|"/>
                          <m:ctrlPr>
                            <a:rPr lang="en-US" altLang="ko-KR" sz="13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R" sz="1300" b="0" i="1" smtClean="0">
                              <a:latin typeface="Cambria Math" panose="02040503050406030204" pitchFamily="18" charset="0"/>
                            </a:rPr>
                            <m:t>𝑑𝑒𝑡</m:t>
                          </m:r>
                          <m:f>
                            <m:fPr>
                              <m:ctrlPr>
                                <a:rPr lang="en-US" altLang="ko-KR" sz="13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ko-KR" sz="1300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sSup>
                                <m:sSupPr>
                                  <m:ctrlPr>
                                    <a:rPr lang="en-US" altLang="ko-KR" sz="13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ko-KR" sz="13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  <m:sup>
                                  <m:r>
                                    <a:rPr lang="en-US" altLang="ko-KR" sz="1300" i="1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ko-KR" sz="13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ko-KR" sz="1300" i="1"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ko-KR" sz="1300" i="1">
                                  <a:latin typeface="Cambria Math" panose="02040503050406030204" pitchFamily="18" charset="0"/>
                                </a:rPr>
                                <m:t>𝑑𝑥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altLang="ko-KR" sz="1300" dirty="0"/>
              </a:p>
              <a:p>
                <a:pPr>
                  <a:lnSpc>
                    <a:spcPct val="200000"/>
                  </a:lnSpc>
                </a:pPr>
                <a:r>
                  <a:rPr lang="ko-KR" altLang="en-US" sz="1300" dirty="0"/>
                  <a:t>행렬 미분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 Jacobian determinant</a:t>
                </a: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300" dirty="0">
                    <a:sym typeface="Wingdings" panose="05000000000000000000" pitchFamily="2" charset="2"/>
                  </a:rPr>
                  <a:t>5)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결국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,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모델 내 연산이 역함수가 존재해야 하고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,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동시에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Jacobian determinant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계산이 쉬워야 함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. </a:t>
                </a: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endParaRPr lang="en-US" altLang="ko-KR" sz="1300" dirty="0">
                  <a:sym typeface="Wingdings" panose="05000000000000000000" pitchFamily="2" charset="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ko-KR" sz="1300" dirty="0">
                    <a:sym typeface="Wingdings" panose="05000000000000000000" pitchFamily="2" charset="2"/>
                  </a:rPr>
                  <a:t>6)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두 조건을 만족할 만한 최적의 연산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: Affine transformation</a:t>
                </a:r>
                <a:endParaRPr lang="en-US" altLang="ko-KR" sz="13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D6AEA7D-094B-48EC-B6BF-8B203EC2AE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5823" y="805055"/>
                <a:ext cx="6332124" cy="5339410"/>
              </a:xfrm>
              <a:prstGeom prst="rect">
                <a:avLst/>
              </a:prstGeom>
              <a:blipFill>
                <a:blip r:embed="rId4"/>
                <a:stretch>
                  <a:fillRect l="-193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직사각형 13">
            <a:extLst>
              <a:ext uri="{FF2B5EF4-FFF2-40B4-BE49-F238E27FC236}">
                <a16:creationId xmlns:a16="http://schemas.microsoft.com/office/drawing/2014/main" id="{7694EFC1-8023-01F8-CFBB-62EFF32600E1}"/>
              </a:ext>
            </a:extLst>
          </p:cNvPr>
          <p:cNvSpPr/>
          <p:nvPr/>
        </p:nvSpPr>
        <p:spPr>
          <a:xfrm>
            <a:off x="8782050" y="1502233"/>
            <a:ext cx="1028700" cy="593267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DCF01A6C-9670-90E3-9AA6-827476FFE8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951"/>
          <a:stretch/>
        </p:blipFill>
        <p:spPr>
          <a:xfrm>
            <a:off x="5675263" y="3804057"/>
            <a:ext cx="6332124" cy="164355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BA554DB-B5AF-4767-7E4D-B5BFEE7D16C8}"/>
              </a:ext>
            </a:extLst>
          </p:cNvPr>
          <p:cNvSpPr txBox="1"/>
          <p:nvPr/>
        </p:nvSpPr>
        <p:spPr>
          <a:xfrm>
            <a:off x="6965771" y="4931072"/>
            <a:ext cx="2292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FF0000"/>
                </a:solidFill>
              </a:rPr>
              <a:t>Forward process</a:t>
            </a:r>
            <a:endParaRPr lang="ko-KR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281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11CF4150-27BF-472B-4DC7-4D00C888FD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ipeline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2CF3C04-C53E-BBF7-AE3E-CE08614F56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824"/>
          <a:stretch/>
        </p:blipFill>
        <p:spPr>
          <a:xfrm>
            <a:off x="263780" y="1333499"/>
            <a:ext cx="7375269" cy="53191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89665DD-23C0-A6CA-78C5-743292E8C15E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(Distribution map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43985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FCEAAD-286F-8389-5FC5-E3EE6EB881F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(Distribution map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27D270E6-F758-8AD9-70EF-D74DBBCD0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 model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4105A0F-4FF8-663D-4F5D-4E0B6A4EEC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305486"/>
            <a:ext cx="7537397" cy="3097989"/>
          </a:xfrm>
          <a:prstGeom prst="rect">
            <a:avLst/>
          </a:prstGeom>
        </p:spPr>
      </p:pic>
      <p:grpSp>
        <p:nvGrpSpPr>
          <p:cNvPr id="6" name="그룹 5">
            <a:extLst>
              <a:ext uri="{FF2B5EF4-FFF2-40B4-BE49-F238E27FC236}">
                <a16:creationId xmlns:a16="http://schemas.microsoft.com/office/drawing/2014/main" id="{7F89DD9C-B8F0-A048-3A2D-FA0C94776830}"/>
              </a:ext>
            </a:extLst>
          </p:cNvPr>
          <p:cNvGrpSpPr/>
          <p:nvPr/>
        </p:nvGrpSpPr>
        <p:grpSpPr>
          <a:xfrm>
            <a:off x="7972425" y="1411076"/>
            <a:ext cx="4067175" cy="2886810"/>
            <a:chOff x="7981950" y="1580695"/>
            <a:chExt cx="4067175" cy="2886810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B137DAFD-B914-5C27-8644-81DB0E3A3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81950" y="1580695"/>
              <a:ext cx="4067175" cy="2886810"/>
            </a:xfrm>
            <a:prstGeom prst="rect">
              <a:avLst/>
            </a:prstGeom>
          </p:spPr>
        </p:pic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632FF296-B5CE-5014-9AFC-1FE54DE885E3}"/>
                </a:ext>
              </a:extLst>
            </p:cNvPr>
            <p:cNvCxnSpPr/>
            <p:nvPr/>
          </p:nvCxnSpPr>
          <p:spPr>
            <a:xfrm>
              <a:off x="9067800" y="3771900"/>
              <a:ext cx="2981325" cy="0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직선 연결선 8">
              <a:extLst>
                <a:ext uri="{FF2B5EF4-FFF2-40B4-BE49-F238E27FC236}">
                  <a16:creationId xmlns:a16="http://schemas.microsoft.com/office/drawing/2014/main" id="{1B803E6E-524E-D938-8B73-E2FA53C8F6DD}"/>
                </a:ext>
              </a:extLst>
            </p:cNvPr>
            <p:cNvCxnSpPr>
              <a:cxnSpLocks/>
            </p:cNvCxnSpPr>
            <p:nvPr/>
          </p:nvCxnSpPr>
          <p:spPr>
            <a:xfrm>
              <a:off x="7981950" y="3952875"/>
              <a:ext cx="4067175" cy="0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4656728-3BCB-FA44-FDAF-DAF5510BF87A}"/>
              </a:ext>
            </a:extLst>
          </p:cNvPr>
          <p:cNvSpPr txBox="1"/>
          <p:nvPr/>
        </p:nvSpPr>
        <p:spPr>
          <a:xfrm>
            <a:off x="263781" y="4452618"/>
            <a:ext cx="11775819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Feature extraction using CNN model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Affine coupling layer (flow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듈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복잡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를 표준 정규 분포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apping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데이터의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매핑된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결과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aussian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에 가까워지도록 학습을 진행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. Loss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및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timization parameter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ss : Log likelihood 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ptimization parameter : s &amp; t in Affine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199748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563BE3-F27E-5DE2-AF5A-CFFB36CCB08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성능비교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3C15296-9102-7652-9057-0E11C046B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89" y="852121"/>
            <a:ext cx="7816011" cy="382810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B67F40B7-0D35-3627-2679-51D170EB3CDB}"/>
              </a:ext>
            </a:extLst>
          </p:cNvPr>
          <p:cNvSpPr/>
          <p:nvPr/>
        </p:nvSpPr>
        <p:spPr>
          <a:xfrm>
            <a:off x="1031570" y="129256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00948660-1750-3630-2984-231B61950CC4}"/>
              </a:ext>
            </a:extLst>
          </p:cNvPr>
          <p:cNvSpPr/>
          <p:nvPr/>
        </p:nvSpPr>
        <p:spPr>
          <a:xfrm>
            <a:off x="1046429" y="196515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9791907-2578-8A3F-02D7-B07A961D4BF0}"/>
              </a:ext>
            </a:extLst>
          </p:cNvPr>
          <p:cNvSpPr/>
          <p:nvPr/>
        </p:nvSpPr>
        <p:spPr>
          <a:xfrm>
            <a:off x="1046429" y="3486234"/>
            <a:ext cx="6055030" cy="174286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96708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B60B1ED-6B26-2018-8A6E-0F16155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개요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114099-CEF6-A8A3-7ABC-98A6730923D5}"/>
              </a:ext>
            </a:extLst>
          </p:cNvPr>
          <p:cNvSpPr txBox="1"/>
          <p:nvPr/>
        </p:nvSpPr>
        <p:spPr>
          <a:xfrm>
            <a:off x="250953" y="1136682"/>
            <a:ext cx="11766294" cy="141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Discriminatively trained Reconstruction Anomaly Embedding Mode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Convolutional autoencoder</a:t>
            </a:r>
            <a:r>
              <a:rPr lang="ko-KR" altLang="en-US" sz="1500" dirty="0"/>
              <a:t>와 같은 </a:t>
            </a:r>
            <a:r>
              <a:rPr lang="en-US" altLang="ko-KR" sz="1500" dirty="0"/>
              <a:t>reconstruction based </a:t>
            </a:r>
            <a:r>
              <a:rPr lang="ko-KR" altLang="en-US" sz="1500" dirty="0"/>
              <a:t>기법</a:t>
            </a:r>
            <a:endParaRPr lang="en-US" altLang="ko-KR" sz="15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/>
              <a:t>두 모델의 차이점 비교</a:t>
            </a: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4012EA0-F8AB-4CD3-3DEA-7B64D4CC7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952596"/>
              </p:ext>
            </p:extLst>
          </p:nvPr>
        </p:nvGraphicFramePr>
        <p:xfrm>
          <a:off x="650875" y="2658747"/>
          <a:ext cx="7683501" cy="25043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9475">
                  <a:extLst>
                    <a:ext uri="{9D8B030D-6E8A-4147-A177-3AD203B41FA5}">
                      <a16:colId xmlns:a16="http://schemas.microsoft.com/office/drawing/2014/main" val="1377079547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514707098"/>
                    </a:ext>
                  </a:extLst>
                </a:gridCol>
                <a:gridCol w="2809876">
                  <a:extLst>
                    <a:ext uri="{9D8B030D-6E8A-4147-A177-3AD203B41FA5}">
                      <a16:colId xmlns:a16="http://schemas.microsoft.com/office/drawing/2014/main" val="3773955701"/>
                    </a:ext>
                  </a:extLst>
                </a:gridCol>
              </a:tblGrid>
              <a:tr h="511575">
                <a:tc>
                  <a:txBody>
                    <a:bodyPr/>
                    <a:lstStyle/>
                    <a:p>
                      <a:pPr algn="ctr" latinLnBrk="1"/>
                      <a:endParaRPr lang="ko-KR" altLang="en-US" sz="1500" b="1" dirty="0"/>
                    </a:p>
                  </a:txBody>
                  <a:tcPr anchor="ctr"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Autoencoder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DRAEM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3489824"/>
                  </a:ext>
                </a:extLst>
              </a:tr>
              <a:tr h="6730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학습 데이터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정상 이미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정상 이미지 </a:t>
                      </a:r>
                      <a:r>
                        <a:rPr lang="en-US" altLang="ko-KR" sz="1300" dirty="0"/>
                        <a:t>+ </a:t>
                      </a:r>
                    </a:p>
                    <a:p>
                      <a:pPr algn="ctr" latinLnBrk="1"/>
                      <a:r>
                        <a:rPr lang="ko-KR" altLang="en-US" sz="1300" dirty="0"/>
                        <a:t>비정상 이미지 임의로 생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4741811"/>
                  </a:ext>
                </a:extLst>
              </a:tr>
              <a:tr h="6567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구조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Encoding + Decoding</a:t>
                      </a:r>
                      <a:endParaRPr lang="ko-KR" altLang="en-US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2</a:t>
                      </a:r>
                      <a:r>
                        <a:rPr lang="ko-KR" altLang="en-US" sz="1300" dirty="0"/>
                        <a:t>개의 네트워크가 존재</a:t>
                      </a:r>
                      <a:endParaRPr lang="en-US" altLang="ko-KR" sz="1300" dirty="0"/>
                    </a:p>
                    <a:p>
                      <a:pPr algn="ctr" latinLnBrk="1"/>
                      <a:r>
                        <a:rPr lang="en-US" altLang="ko-KR" sz="1300" dirty="0"/>
                        <a:t>1) Reconstructive sub-network</a:t>
                      </a:r>
                    </a:p>
                    <a:p>
                      <a:pPr algn="ctr" latinLnBrk="1"/>
                      <a:r>
                        <a:rPr lang="en-US" altLang="ko-KR" sz="1300" dirty="0"/>
                        <a:t>2) Discriminative sub-network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7829799"/>
                  </a:ext>
                </a:extLst>
              </a:tr>
              <a:tr h="63389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문제점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Over-generalization</a:t>
                      </a:r>
                      <a:endParaRPr lang="ko-KR" altLang="en-US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해당 사항을 개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9850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7603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62E7C351-FE91-0C60-59DA-35C82CB2A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모델 구조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058512C-BC61-FC38-1672-565264F8F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1309377"/>
            <a:ext cx="8308719" cy="30649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CB432E-8655-E8E5-7BDA-C0B71F6C92F0}"/>
              </a:ext>
            </a:extLst>
          </p:cNvPr>
          <p:cNvSpPr txBox="1"/>
          <p:nvPr/>
        </p:nvSpPr>
        <p:spPr>
          <a:xfrm>
            <a:off x="161925" y="4327557"/>
            <a:ext cx="11766294" cy="1441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b="1" dirty="0"/>
              <a:t>[</a:t>
            </a:r>
            <a:r>
              <a:rPr lang="ko-KR" altLang="en-US" sz="1500" b="1" dirty="0"/>
              <a:t>가장 중요한 세 가지</a:t>
            </a:r>
            <a:r>
              <a:rPr lang="en-US" altLang="ko-KR" sz="1500" b="1" dirty="0"/>
              <a:t>]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Anomaly image </a:t>
            </a:r>
            <a:r>
              <a:rPr lang="ko-KR" altLang="en-US" sz="1500" dirty="0"/>
              <a:t>생성</a:t>
            </a:r>
            <a:endParaRPr lang="en-US" altLang="ko-KR" sz="1500" dirty="0"/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Reconstructive sub-network </a:t>
            </a:r>
            <a:r>
              <a:rPr lang="ko-KR" altLang="en-US" sz="1500" dirty="0"/>
              <a:t>구조 </a:t>
            </a:r>
            <a:r>
              <a:rPr lang="en-US" altLang="ko-KR" sz="1500" dirty="0"/>
              <a:t>(loss </a:t>
            </a:r>
            <a:r>
              <a:rPr lang="ko-KR" altLang="en-US" sz="1500" dirty="0"/>
              <a:t>정의 및 목적</a:t>
            </a:r>
            <a:r>
              <a:rPr lang="en-US" altLang="ko-KR" sz="1500" dirty="0"/>
              <a:t>)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Discriminative sub-network </a:t>
            </a:r>
            <a:r>
              <a:rPr lang="ko-KR" altLang="en-US" sz="1500" dirty="0"/>
              <a:t>구조 </a:t>
            </a:r>
            <a:r>
              <a:rPr lang="en-US" altLang="ko-KR" sz="1500" dirty="0"/>
              <a:t>(loss </a:t>
            </a:r>
            <a:r>
              <a:rPr lang="ko-KR" altLang="en-US" sz="1500" dirty="0"/>
              <a:t>정의 및 목적</a:t>
            </a:r>
            <a:r>
              <a:rPr lang="en-US" altLang="ko-KR" sz="1500" dirty="0"/>
              <a:t>)</a:t>
            </a:r>
            <a:endParaRPr lang="ko-KR" altLang="en-US" sz="15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22258F-0C5B-72B0-E3FD-7DD6393A06C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1093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A5C9DFF-C2D8-EA0D-6446-BBFFDA04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omaly generation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F90720C8-6230-3F2F-8C70-0D501210AA3C}"/>
              </a:ext>
            </a:extLst>
          </p:cNvPr>
          <p:cNvGrpSpPr/>
          <p:nvPr/>
        </p:nvGrpSpPr>
        <p:grpSpPr>
          <a:xfrm>
            <a:off x="263782" y="1270032"/>
            <a:ext cx="6765668" cy="2397093"/>
            <a:chOff x="254053" y="1270032"/>
            <a:chExt cx="6725589" cy="2667372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1AC7AA3C-D091-2DE9-4DCF-A783748C7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3" y="1270032"/>
              <a:ext cx="6725589" cy="2667372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5B1EFD03-50FE-A498-F7C9-63CAB81831AE}"/>
                </a:ext>
              </a:extLst>
            </p:cNvPr>
            <p:cNvSpPr/>
            <p:nvPr/>
          </p:nvSpPr>
          <p:spPr>
            <a:xfrm>
              <a:off x="1295400" y="3028950"/>
              <a:ext cx="2028825" cy="828675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1" name="그림 10">
            <a:extLst>
              <a:ext uri="{FF2B5EF4-FFF2-40B4-BE49-F238E27FC236}">
                <a16:creationId xmlns:a16="http://schemas.microsoft.com/office/drawing/2014/main" id="{8BE06D19-A967-1281-C4AB-38CF441A1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450" y="1260507"/>
            <a:ext cx="3038885" cy="24256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A785F84-8EE9-6BF4-BC1A-ECA81C74F1E7}"/>
                  </a:ext>
                </a:extLst>
              </p:cNvPr>
              <p:cNvSpPr txBox="1"/>
              <p:nvPr/>
            </p:nvSpPr>
            <p:spPr>
              <a:xfrm>
                <a:off x="263781" y="3686175"/>
                <a:ext cx="11747244" cy="1261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Perlin noise generator</a:t>
                </a:r>
                <a:r>
                  <a:rPr lang="ko-KR" altLang="en-US" sz="1300" dirty="0"/>
                  <a:t>를 활용한 노이즈 성 이미지를 먼저 생성 </a:t>
                </a:r>
                <a:r>
                  <a:rPr lang="en-US" altLang="ko-KR" sz="1300" dirty="0"/>
                  <a:t>(P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Binary thresholding</a:t>
                </a:r>
                <a:r>
                  <a:rPr lang="ko-KR" altLang="en-US" sz="1300" dirty="0"/>
                  <a:t>을 통해 이미지 이진화를 진행 </a:t>
                </a:r>
                <a:r>
                  <a:rPr lang="en-US" altLang="ko-KR" sz="13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학습 데이터의 샘플 이미지를 선정 </a:t>
                </a:r>
                <a:r>
                  <a:rPr lang="en-US" altLang="ko-KR" sz="1300" dirty="0"/>
                  <a:t>(I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A</a:t>
                </a:r>
                <a:r>
                  <a:rPr lang="ko-KR" altLang="en-US" sz="1300" dirty="0"/>
                  <a:t>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ko-KR" altLang="en-US" sz="1300" dirty="0"/>
                  <a:t>를 결합한 이미지를 원본 데이터셋 </a:t>
                </a:r>
                <a:r>
                  <a:rPr lang="en-US" altLang="ko-KR" sz="1300" dirty="0"/>
                  <a:t>I</a:t>
                </a:r>
                <a:r>
                  <a:rPr lang="ko-KR" altLang="en-US" sz="1300" dirty="0"/>
                  <a:t>에 추가하여 최종적으로 비정상 샘플을 생성하게 됨 </a:t>
                </a:r>
                <a:r>
                  <a:rPr lang="en-US" altLang="ko-KR" sz="13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I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en-US" altLang="ko-KR" sz="1300" dirty="0"/>
                  <a:t>)</a:t>
                </a:r>
                <a:endParaRPr lang="ko-KR" altLang="en-US" sz="13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A785F84-8EE9-6BF4-BC1A-ECA81C74F1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781" y="3686175"/>
                <a:ext cx="11747244" cy="1261627"/>
              </a:xfrm>
              <a:prstGeom prst="rect">
                <a:avLst/>
              </a:prstGeom>
              <a:blipFill>
                <a:blip r:embed="rId4"/>
                <a:stretch>
                  <a:fillRect l="-104" b="-338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그림 17">
            <a:extLst>
              <a:ext uri="{FF2B5EF4-FFF2-40B4-BE49-F238E27FC236}">
                <a16:creationId xmlns:a16="http://schemas.microsoft.com/office/drawing/2014/main" id="{02ADCA4D-E04C-6C59-1AD9-EF6D53CF21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2211" y="4247923"/>
            <a:ext cx="2390084" cy="2397094"/>
          </a:xfrm>
          <a:prstGeom prst="rect">
            <a:avLst/>
          </a:prstGeom>
        </p:spPr>
      </p:pic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D9B90E9A-47E1-9D9F-E8B4-68009D8DEDE8}"/>
              </a:ext>
            </a:extLst>
          </p:cNvPr>
          <p:cNvCxnSpPr>
            <a:stCxn id="11" idx="2"/>
          </p:cNvCxnSpPr>
          <p:nvPr/>
        </p:nvCxnSpPr>
        <p:spPr>
          <a:xfrm>
            <a:off x="8548893" y="3686175"/>
            <a:ext cx="718360" cy="561748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829F81C-35F1-D0A4-DE37-09F64F2F054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6716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DB20C302-63A8-9851-C3D0-EFBD0F1F9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constructive sub-network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2A24625-B9CB-B287-75F1-C45FEDF91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914" y="1314155"/>
            <a:ext cx="7135062" cy="2522267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3DBD6967-CD4D-41C5-5B1D-4A163FF5A03D}"/>
              </a:ext>
            </a:extLst>
          </p:cNvPr>
          <p:cNvSpPr/>
          <p:nvPr/>
        </p:nvSpPr>
        <p:spPr>
          <a:xfrm>
            <a:off x="284913" y="1371305"/>
            <a:ext cx="3458212" cy="139780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E3FFFC-F59D-F4CC-C884-F9AEE9E3E62C}"/>
                  </a:ext>
                </a:extLst>
              </p:cNvPr>
              <p:cNvSpPr txBox="1"/>
              <p:nvPr/>
            </p:nvSpPr>
            <p:spPr>
              <a:xfrm>
                <a:off x="222378" y="3807938"/>
                <a:ext cx="11747244" cy="3062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Encoder + Decoder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</a:t>
                </a:r>
                <a:r>
                  <a:rPr lang="en-US" altLang="ko-KR" sz="1300" dirty="0"/>
                  <a:t> Generation based form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입력</a:t>
                </a:r>
                <a:r>
                  <a:rPr lang="en-US" altLang="ko-KR" sz="1300" dirty="0"/>
                  <a:t> : Generated anomaly image 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출력</a:t>
                </a:r>
                <a:r>
                  <a:rPr lang="en-US" altLang="ko-KR" sz="1300" dirty="0"/>
                  <a:t> : Reconstructed image + Original image (</a:t>
                </a:r>
                <a:r>
                  <a:rPr lang="ko-KR" altLang="en-US" sz="1300" dirty="0"/>
                  <a:t>정상 데이터셋</a:t>
                </a:r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학습 목적 </a:t>
                </a:r>
                <a:r>
                  <a:rPr lang="en-US" altLang="ko-KR" sz="1300" dirty="0"/>
                  <a:t>: </a:t>
                </a:r>
                <a:r>
                  <a:rPr lang="ko-KR" altLang="en-US" sz="1300" dirty="0"/>
                  <a:t>비정상 이미지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정상 이미지로 복원하는 것이 핵심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 Input image</a:t>
                </a:r>
                <a:r>
                  <a:rPr lang="ko-KR" altLang="en-US" sz="1300" dirty="0"/>
                  <a:t>의 </a:t>
                </a:r>
                <a:r>
                  <a:rPr lang="en-US" altLang="ko-KR" sz="1300" dirty="0"/>
                  <a:t>local pattern</a:t>
                </a:r>
                <a:r>
                  <a:rPr lang="ko-KR" altLang="en-US" sz="1300" dirty="0"/>
                  <a:t>을 </a:t>
                </a:r>
                <a:r>
                  <a:rPr lang="en-US" altLang="ko-KR" sz="1300" dirty="0"/>
                  <a:t>normal sample</a:t>
                </a:r>
                <a:r>
                  <a:rPr lang="ko-KR" altLang="en-US" sz="1300" dirty="0"/>
                  <a:t> 분포에 가깝게 만들 수 있는 네트워크 구조를 가지고 있음</a:t>
                </a:r>
                <a:r>
                  <a:rPr lang="en-US" altLang="ko-KR" sz="1300" dirty="0"/>
                  <a:t>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5)				:     Reconstruction los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I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r</m:t>
                        </m:r>
                      </m:sub>
                    </m:sSub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300" dirty="0"/>
                  <a:t>: Reconstructed image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R" sz="1300" i="1" dirty="0">
                        <a:latin typeface="Cambria Math" panose="02040503050406030204" pitchFamily="18" charset="0"/>
                      </a:rPr>
                      <m:t>I</m:t>
                    </m:r>
                  </m:oMath>
                </a14:m>
                <a:r>
                  <a:rPr lang="en-US" altLang="ko-KR" sz="1300" dirty="0"/>
                  <a:t> : </a:t>
                </a:r>
                <a:r>
                  <a:rPr lang="ko-KR" altLang="en-US" sz="1300" dirty="0"/>
                  <a:t>원본 이미지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SSIM loss : </a:t>
                </a:r>
                <a:r>
                  <a:rPr lang="ko-KR" altLang="en-US" sz="1300" dirty="0"/>
                  <a:t>두 이미지 간의 구조적 유사성을 정의 </a:t>
                </a:r>
                <a:r>
                  <a:rPr lang="en-US" altLang="ko-KR" sz="1300" dirty="0"/>
                  <a:t>/ </a:t>
                </a:r>
                <a:r>
                  <a:rPr lang="ko-KR" altLang="en-US" sz="1300" dirty="0"/>
                  <a:t>실제로 두 이미지가 얼마나 비슷하게 보이는 지를 평가하는 </a:t>
                </a:r>
                <a:r>
                  <a:rPr lang="en-US" altLang="ko-KR" sz="1300" dirty="0"/>
                  <a:t>loss term (</a:t>
                </a:r>
                <a:r>
                  <a:rPr lang="ko-KR" altLang="en-US" sz="1300" dirty="0"/>
                  <a:t>밝기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대비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등등</a:t>
                </a:r>
                <a:r>
                  <a:rPr lang="en-US" altLang="ko-KR" sz="1300" dirty="0"/>
                  <a:t>)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Lambda : loss balancing hyper-parameter			</a:t>
                </a:r>
                <a:endParaRPr lang="ko-KR" altLang="en-US" sz="13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E3FFFC-F59D-F4CC-C884-F9AEE9E3E6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378" y="3807938"/>
                <a:ext cx="11747244" cy="3062120"/>
              </a:xfrm>
              <a:prstGeom prst="rect">
                <a:avLst/>
              </a:prstGeom>
              <a:blipFill>
                <a:blip r:embed="rId4"/>
                <a:stretch>
                  <a:fillRect l="-104" b="-79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그림 9">
            <a:extLst>
              <a:ext uri="{FF2B5EF4-FFF2-40B4-BE49-F238E27FC236}">
                <a16:creationId xmlns:a16="http://schemas.microsoft.com/office/drawing/2014/main" id="{617DD09E-5AA3-DA1C-6323-7875BAFE4C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963" y="5341758"/>
            <a:ext cx="3134162" cy="352474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6202A8B1-58E7-EAFB-DCA9-B90749F24363}"/>
              </a:ext>
            </a:extLst>
          </p:cNvPr>
          <p:cNvSpPr/>
          <p:nvPr/>
        </p:nvSpPr>
        <p:spPr>
          <a:xfrm>
            <a:off x="608962" y="5372100"/>
            <a:ext cx="4972687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E71737-F799-1267-6784-54BA4078A0F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4727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omaly detection  method : survey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B1D2BD9B-F85D-BCA9-71EA-BE40CE47F218}"/>
              </a:ext>
            </a:extLst>
          </p:cNvPr>
          <p:cNvGrpSpPr/>
          <p:nvPr/>
        </p:nvGrpSpPr>
        <p:grpSpPr>
          <a:xfrm>
            <a:off x="254053" y="883451"/>
            <a:ext cx="7956497" cy="2231223"/>
            <a:chOff x="254053" y="883452"/>
            <a:chExt cx="8127947" cy="2131648"/>
          </a:xfrm>
        </p:grpSpPr>
        <p:pic>
          <p:nvPicPr>
            <p:cNvPr id="2" name="그림 1">
              <a:extLst>
                <a:ext uri="{FF2B5EF4-FFF2-40B4-BE49-F238E27FC236}">
                  <a16:creationId xmlns:a16="http://schemas.microsoft.com/office/drawing/2014/main" id="{FC3B7FDA-913E-340E-94A6-5EA24167E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3" y="883452"/>
              <a:ext cx="8127947" cy="2131648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EA450069-F54A-19C4-B582-0F0CDE4D4F1A}"/>
                </a:ext>
              </a:extLst>
            </p:cNvPr>
            <p:cNvSpPr/>
            <p:nvPr/>
          </p:nvSpPr>
          <p:spPr>
            <a:xfrm>
              <a:off x="380999" y="2335828"/>
              <a:ext cx="2886075" cy="559771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A71A244-94F7-7CF8-BFFC-CCB741234F9A}"/>
              </a:ext>
            </a:extLst>
          </p:cNvPr>
          <p:cNvSpPr txBox="1"/>
          <p:nvPr/>
        </p:nvSpPr>
        <p:spPr>
          <a:xfrm>
            <a:off x="330455" y="3133724"/>
            <a:ext cx="3554503" cy="1787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/>
              <a:t>[Feature-embedding method]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Teacher-Student net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One class classif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Distribution ma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Memory bank</a:t>
            </a:r>
            <a:endParaRPr lang="ko-KR" altLang="en-US" sz="1500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3D39C4C-0781-FF81-FB62-0F834346130C}"/>
              </a:ext>
            </a:extLst>
          </p:cNvPr>
          <p:cNvSpPr/>
          <p:nvPr/>
        </p:nvSpPr>
        <p:spPr>
          <a:xfrm>
            <a:off x="587871" y="4216850"/>
            <a:ext cx="1507629" cy="70467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73805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E445965C-3A6B-DCF3-4C97-B77C384DA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iscriminative sub-network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9F3DCF-E5A0-0C05-9146-2307AB3D5D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914" y="1314155"/>
            <a:ext cx="7135062" cy="2522267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FC454801-0239-E8F6-142B-DB463B8F36D0}"/>
              </a:ext>
            </a:extLst>
          </p:cNvPr>
          <p:cNvSpPr/>
          <p:nvPr/>
        </p:nvSpPr>
        <p:spPr>
          <a:xfrm>
            <a:off x="3852445" y="1399880"/>
            <a:ext cx="2653130" cy="139780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7209482-7CFE-A658-ADB4-088F6E97C932}"/>
                  </a:ext>
                </a:extLst>
              </p:cNvPr>
              <p:cNvSpPr txBox="1"/>
              <p:nvPr/>
            </p:nvSpPr>
            <p:spPr>
              <a:xfrm>
                <a:off x="222378" y="3807938"/>
                <a:ext cx="11747244" cy="21618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입력 </a:t>
                </a:r>
                <a:r>
                  <a:rPr lang="en-US" altLang="ko-KR" sz="1300" dirty="0"/>
                  <a:t>: channel wise concatenation(</a:t>
                </a:r>
                <a:r>
                  <a:rPr lang="ko-KR" altLang="en-US" sz="1300" dirty="0"/>
                  <a:t>복원 이미지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노이즈 이미지</a:t>
                </a:r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                                   :    focal loss</a:t>
                </a:r>
                <a:r>
                  <a:rPr lang="ko-KR" altLang="en-US" sz="1300" dirty="0"/>
                  <a:t>를 활용 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ko-KR" altLang="en-US" sz="1300" dirty="0"/>
                  <a:t>이미지 상에서 이상치는 작은 부분만을 차지하기 때문에</a:t>
                </a:r>
                <a:r>
                  <a:rPr lang="en-US" altLang="ko-KR" sz="1300" dirty="0"/>
                  <a:t>, cross entropy loss</a:t>
                </a:r>
                <a:r>
                  <a:rPr lang="ko-KR" altLang="en-US" sz="1300" dirty="0"/>
                  <a:t>를 사용하는 것이 아닌</a:t>
                </a:r>
                <a:r>
                  <a:rPr lang="en-US" altLang="ko-KR" sz="1300" dirty="0"/>
                  <a:t>, focal loss</a:t>
                </a:r>
                <a:r>
                  <a:rPr lang="ko-KR" altLang="en-US" sz="1300" dirty="0"/>
                  <a:t>를 활용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300" dirty="0"/>
                  <a:t>: Ground truth mask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R" sz="1300" i="1" dirty="0">
                        <a:latin typeface="Cambria Math" panose="02040503050406030204" pitchFamily="18" charset="0"/>
                      </a:rPr>
                      <m:t>M</m:t>
                    </m:r>
                  </m:oMath>
                </a14:m>
                <a:r>
                  <a:rPr lang="ko-KR" altLang="en-US" sz="1300" dirty="0"/>
                  <a:t> </a:t>
                </a:r>
                <a:r>
                  <a:rPr lang="en-US" altLang="ko-KR" sz="1300" dirty="0"/>
                  <a:t>: output of discriminative sub-network (mask image)</a:t>
                </a:r>
              </a:p>
              <a:p>
                <a:pPr marL="342900" indent="-342900">
                  <a:lnSpc>
                    <a:spcPct val="150000"/>
                  </a:lnSpc>
                  <a:buAutoNum type="arabicParenR" startAt="3"/>
                </a:pPr>
                <a:r>
                  <a:rPr lang="ko-KR" altLang="en-US" sz="1300" dirty="0"/>
                  <a:t>모델의 전체 </a:t>
                </a:r>
                <a:r>
                  <a:rPr lang="en-US" altLang="ko-KR" sz="1300" dirty="0"/>
                  <a:t>Total loss : </a:t>
                </a:r>
              </a:p>
              <a:p>
                <a:pPr>
                  <a:lnSpc>
                    <a:spcPct val="150000"/>
                  </a:lnSpc>
                </a:pPr>
                <a:endParaRPr lang="en-US" altLang="ko-KR" sz="1300" dirty="0"/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7209482-7CFE-A658-ADB4-088F6E97C9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378" y="3807938"/>
                <a:ext cx="11747244" cy="2161874"/>
              </a:xfrm>
              <a:prstGeom prst="rect">
                <a:avLst/>
              </a:prstGeom>
              <a:blipFill>
                <a:blip r:embed="rId3"/>
                <a:stretch>
                  <a:fillRect l="-10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그림 8">
            <a:extLst>
              <a:ext uri="{FF2B5EF4-FFF2-40B4-BE49-F238E27FC236}">
                <a16:creationId xmlns:a16="http://schemas.microsoft.com/office/drawing/2014/main" id="{193C90D3-F994-B8DD-AB04-2298CA76A3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003" y="4191000"/>
            <a:ext cx="1305048" cy="263484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55B65C9-DEDC-E673-2416-2B2A068005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67" t="3699"/>
          <a:stretch/>
        </p:blipFill>
        <p:spPr>
          <a:xfrm>
            <a:off x="2333625" y="5364162"/>
            <a:ext cx="3790950" cy="294440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83E2269E-9E29-1BD3-0EA9-22A142D079BC}"/>
              </a:ext>
            </a:extLst>
          </p:cNvPr>
          <p:cNvSpPr/>
          <p:nvPr/>
        </p:nvSpPr>
        <p:spPr>
          <a:xfrm>
            <a:off x="619003" y="4180726"/>
            <a:ext cx="2733797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305F7856-B679-4A32-4A08-A0ACBDECC9D4}"/>
              </a:ext>
            </a:extLst>
          </p:cNvPr>
          <p:cNvSpPr/>
          <p:nvPr/>
        </p:nvSpPr>
        <p:spPr>
          <a:xfrm>
            <a:off x="608962" y="5362575"/>
            <a:ext cx="5515613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DCAD9D-6C34-7771-2B41-98C8F76E04F1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324039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E2B76615-F3AA-0469-C647-FE0918F91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평가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1D725DF-1DC2-1EE2-87FF-9507E76C7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241457"/>
            <a:ext cx="5051372" cy="38412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4B2FAF-DE81-91F3-8492-D3EC8E11C52D}"/>
              </a:ext>
            </a:extLst>
          </p:cNvPr>
          <p:cNvSpPr txBox="1"/>
          <p:nvPr/>
        </p:nvSpPr>
        <p:spPr>
          <a:xfrm>
            <a:off x="263781" y="5172075"/>
            <a:ext cx="504164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/>
              <a:t>[</a:t>
            </a:r>
            <a:r>
              <a:rPr lang="en-US" altLang="ko-KR" sz="1300" b="1" dirty="0" err="1"/>
              <a:t>MVTec</a:t>
            </a:r>
            <a:r>
              <a:rPr lang="en-US" altLang="ko-KR" sz="1300" b="1" dirty="0"/>
              <a:t>-AD </a:t>
            </a:r>
            <a:r>
              <a:rPr lang="ko-KR" altLang="en-US" sz="1300" b="1" dirty="0"/>
              <a:t>데이터셋에 대한 성능 평가</a:t>
            </a:r>
            <a:r>
              <a:rPr lang="en-US" altLang="ko-KR" sz="1300" b="1" dirty="0"/>
              <a:t>]</a:t>
            </a:r>
            <a:endParaRPr lang="ko-KR" altLang="en-US" sz="1300" b="1" dirty="0"/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3A91A96C-C830-5FEE-4622-14FB17602B83}"/>
              </a:ext>
            </a:extLst>
          </p:cNvPr>
          <p:cNvGraphicFramePr>
            <a:graphicFrameLocks noGrp="1"/>
          </p:cNvGraphicFramePr>
          <p:nvPr/>
        </p:nvGraphicFramePr>
        <p:xfrm>
          <a:off x="5470525" y="1308131"/>
          <a:ext cx="3749676" cy="37746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7900">
                  <a:extLst>
                    <a:ext uri="{9D8B030D-6E8A-4147-A177-3AD203B41FA5}">
                      <a16:colId xmlns:a16="http://schemas.microsoft.com/office/drawing/2014/main" val="2472691824"/>
                    </a:ext>
                  </a:extLst>
                </a:gridCol>
                <a:gridCol w="2771776">
                  <a:extLst>
                    <a:ext uri="{9D8B030D-6E8A-4147-A177-3AD203B41FA5}">
                      <a16:colId xmlns:a16="http://schemas.microsoft.com/office/drawing/2014/main" val="1286205393"/>
                    </a:ext>
                  </a:extLst>
                </a:gridCol>
              </a:tblGrid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Number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Model name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7122387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GAN anomaly detection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2708152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26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Autoencoder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4377776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4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Teacher-Student network (discriminant latent embedding)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2783453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3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Reconstruction by inpainting for visual</a:t>
                      </a:r>
                      <a:r>
                        <a:rPr lang="ko-KR" altLang="en-US" sz="1300" dirty="0"/>
                        <a:t> </a:t>
                      </a:r>
                      <a:r>
                        <a:rPr lang="en-US" altLang="ko-KR" sz="1300" dirty="0"/>
                        <a:t>inspection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059685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20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Distribution map-based method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18818004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1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err="1"/>
                        <a:t>Imagenet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6880945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86D852E3-C926-77E0-8D96-34BA57D431B1}"/>
              </a:ext>
            </a:extLst>
          </p:cNvPr>
          <p:cNvSpPr/>
          <p:nvPr/>
        </p:nvSpPr>
        <p:spPr>
          <a:xfrm>
            <a:off x="4468494" y="1308131"/>
            <a:ext cx="836931" cy="3774617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95509B-0CE6-DE8E-63E6-38ABB5E9CD8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(Reconstruction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2630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904922-921A-BBC5-C61C-8AAA4483DE62}"/>
              </a:ext>
            </a:extLst>
          </p:cNvPr>
          <p:cNvSpPr txBox="1"/>
          <p:nvPr/>
        </p:nvSpPr>
        <p:spPr>
          <a:xfrm>
            <a:off x="187580" y="800099"/>
            <a:ext cx="11861545" cy="60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5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438940-4B60-9210-6076-2BEA439D7217}"/>
              </a:ext>
            </a:extLst>
          </p:cNvPr>
          <p:cNvSpPr txBox="1"/>
          <p:nvPr/>
        </p:nvSpPr>
        <p:spPr>
          <a:xfrm>
            <a:off x="225680" y="800099"/>
            <a:ext cx="11778740" cy="1872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 err="1"/>
              <a:t>논문명</a:t>
            </a:r>
            <a:r>
              <a:rPr lang="en-US" altLang="ko-KR" sz="1500" dirty="0"/>
              <a:t> : Towards Total Recall in Industrial Anomaly Detectio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/>
              <a:t>별다른 학습 과정이 필요 </a:t>
            </a:r>
            <a:r>
              <a:rPr lang="en-US" altLang="ko-KR" sz="1500" dirty="0"/>
              <a:t>X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Pretrained model</a:t>
            </a:r>
            <a:r>
              <a:rPr lang="ko-KR" altLang="en-US" sz="1500" dirty="0"/>
              <a:t>을 활용한 </a:t>
            </a:r>
            <a:r>
              <a:rPr lang="en-US" altLang="ko-KR" sz="1500" dirty="0"/>
              <a:t>Feature extraction (WRN-50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Train dataset</a:t>
            </a:r>
            <a:r>
              <a:rPr lang="ko-KR" altLang="en-US" sz="1500" dirty="0"/>
              <a:t>의 </a:t>
            </a:r>
            <a:r>
              <a:rPr lang="en-US" altLang="ko-KR" sz="1500" dirty="0"/>
              <a:t>Feature </a:t>
            </a:r>
            <a:r>
              <a:rPr lang="ko-KR" altLang="en-US" sz="1500" dirty="0"/>
              <a:t>추출 </a:t>
            </a:r>
            <a:r>
              <a:rPr lang="en-US" altLang="ko-KR" sz="1500" dirty="0">
                <a:sym typeface="Wingdings" panose="05000000000000000000" pitchFamily="2" charset="2"/>
              </a:rPr>
              <a:t> Memory bank</a:t>
            </a:r>
            <a:r>
              <a:rPr lang="ko-KR" altLang="en-US" sz="1500" dirty="0">
                <a:sym typeface="Wingdings" panose="05000000000000000000" pitchFamily="2" charset="2"/>
              </a:rPr>
              <a:t>를 구성 </a:t>
            </a:r>
            <a:r>
              <a:rPr lang="en-US" altLang="ko-KR" sz="1500" dirty="0">
                <a:sym typeface="Wingdings" panose="05000000000000000000" pitchFamily="2" charset="2"/>
              </a:rPr>
              <a:t>(Corese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73F2C7-3C60-B551-11D8-9FA5E54FA536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1060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87EC7F1-260D-BBEE-7330-71F4D940251D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4655C37-6613-DF5C-31AE-6768F5F50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Local patch features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3574836-8817-4A73-97EA-7B163901CB5C}"/>
              </a:ext>
            </a:extLst>
          </p:cNvPr>
          <p:cNvGrpSpPr/>
          <p:nvPr/>
        </p:nvGrpSpPr>
        <p:grpSpPr>
          <a:xfrm>
            <a:off x="254051" y="1404951"/>
            <a:ext cx="7899348" cy="4452885"/>
            <a:chOff x="254051" y="1222407"/>
            <a:chExt cx="7899348" cy="4452885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3E5F3C08-7739-D91E-1F66-89B27F4DA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1" y="3669564"/>
              <a:ext cx="7889618" cy="2005728"/>
            </a:xfrm>
            <a:prstGeom prst="rect">
              <a:avLst/>
            </a:prstGeom>
          </p:spPr>
        </p:pic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94EA7B1E-0673-5A39-20F8-C67F7F417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4052" y="1222407"/>
              <a:ext cx="7899347" cy="2511393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D5B5738-D363-4FFF-1A90-D59658BFCD3E}"/>
              </a:ext>
            </a:extLst>
          </p:cNvPr>
          <p:cNvSpPr txBox="1"/>
          <p:nvPr/>
        </p:nvSpPr>
        <p:spPr>
          <a:xfrm>
            <a:off x="8215664" y="1346232"/>
            <a:ext cx="3919185" cy="3346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features </a:t>
            </a:r>
            <a:r>
              <a:rPr lang="ko-KR" altLang="en-US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3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etrained model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활용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extrac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id level featur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활용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~3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번째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공간적 정보 손실 방지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마지막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 :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magenet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classifica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 bias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 많은 것을 고려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ayer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통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추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.  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x3xDept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해당하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적용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하나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Local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정보로 저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Local patch feature)         </a:t>
            </a:r>
          </a:p>
        </p:txBody>
      </p:sp>
    </p:spTree>
    <p:extLst>
      <p:ext uri="{BB962C8B-B14F-4D97-AF65-F5344CB8AC3E}">
        <p14:creationId xmlns:p14="http://schemas.microsoft.com/office/powerpoint/2010/main" val="732692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D77CB4F-723C-AFBE-3B11-1C4AA9DF2E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Local patch features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6C4CA65-E913-1104-3593-0265B150F4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378" y="1308132"/>
            <a:ext cx="6299147" cy="37613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71039A-E9EC-B59B-1130-EE3C80FC1E52}"/>
              </a:ext>
            </a:extLst>
          </p:cNvPr>
          <p:cNvSpPr txBox="1"/>
          <p:nvPr/>
        </p:nvSpPr>
        <p:spPr>
          <a:xfrm>
            <a:off x="6486525" y="1308132"/>
            <a:ext cx="5518097" cy="12460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features </a:t>
            </a:r>
            <a:r>
              <a:rPr lang="ko-KR" altLang="en-US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3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5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서로 다른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map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사이즈는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erpola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적용하게 같게 만듦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6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 featur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lobal average pooling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7. Target domai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jection (Coreset, Memory bank)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C3496A-1981-365E-AC5B-B7D0CDAF2586}"/>
              </a:ext>
            </a:extLst>
          </p:cNvPr>
          <p:cNvSpPr/>
          <p:nvPr/>
        </p:nvSpPr>
        <p:spPr>
          <a:xfrm>
            <a:off x="1739119" y="3984453"/>
            <a:ext cx="604031" cy="27322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CB7E34-2C1D-EF83-7242-6476478933B8}"/>
              </a:ext>
            </a:extLst>
          </p:cNvPr>
          <p:cNvSpPr txBox="1"/>
          <p:nvPr/>
        </p:nvSpPr>
        <p:spPr>
          <a:xfrm>
            <a:off x="2328862" y="3959480"/>
            <a:ext cx="15049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 size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1E1487-33A0-4EDB-40D7-4F50A6AE365E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6521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40865EC4-7E3B-B2C2-9EA5-12F1E8879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reset subsampl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E528BB-A44A-EAEB-29FE-3CF4AB0E896F}"/>
              </a:ext>
            </a:extLst>
          </p:cNvPr>
          <p:cNvSpPr txBox="1"/>
          <p:nvPr/>
        </p:nvSpPr>
        <p:spPr>
          <a:xfrm>
            <a:off x="263781" y="1270032"/>
            <a:ext cx="11775819" cy="1546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Mapp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된 데이터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데이터의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보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양이 방대하기 때문에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는 과정이 필요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원본 데이터 양에서 몇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%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남겨야 가장 성능이 좋은가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?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Ablation study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Greedy subsampl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reedy subsampling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andom subsampling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과 비교했을 때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군집의 대표를 더 효율적으로 찾는 결과를 제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overag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샘플링 된 데이터가 전체 중 얼마나 차지하는지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BCB2E7A5-E81F-B92F-D760-A051CB74D2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353" y="2816161"/>
            <a:ext cx="9014995" cy="33879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68A9E17-AEE9-B0F7-BCFF-684FFF323394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8622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4680C3C6-066B-6145-C2FB-158C5AADB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tection / Localization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F3EDCD6-F062-07F6-F473-E07D055E03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241457"/>
            <a:ext cx="7223072" cy="23399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32F801E-DB30-E944-9F91-2EFBA4455880}"/>
              </a:ext>
            </a:extLst>
          </p:cNvPr>
          <p:cNvSpPr txBox="1"/>
          <p:nvPr/>
        </p:nvSpPr>
        <p:spPr>
          <a:xfrm>
            <a:off x="263781" y="3653781"/>
            <a:ext cx="11775819" cy="12210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Query coreset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기준으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scor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계산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Query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가장 가까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된 데이터를 찾은 뒤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그 그룹 내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의 </a:t>
            </a:r>
            <a:r>
              <a:rPr lang="ko-KR" altLang="en-US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요소들과의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거리를 계산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20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렇게 정의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해당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ance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 정의하게 됨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8338BB58-C8BB-A2F3-6A71-0B62B4AD9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1475" y="1241457"/>
            <a:ext cx="2653034" cy="23399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AE1F96-2FFE-4562-9A3D-531599884DD5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6235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959614EE-BDA5-666F-D225-E9950C9BB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sults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EE3DF76-BBF5-7585-2A8C-780E4C6DB4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4" y="1304687"/>
            <a:ext cx="8928046" cy="28691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0C9B140-FF02-FBCB-E7AE-7345046D59B4}"/>
              </a:ext>
            </a:extLst>
          </p:cNvPr>
          <p:cNvSpPr txBox="1"/>
          <p:nvPr/>
        </p:nvSpPr>
        <p:spPr>
          <a:xfrm>
            <a:off x="263781" y="3914133"/>
            <a:ext cx="11775819" cy="64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iz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cal patch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solution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원본 이미지 크기로 </a:t>
            </a:r>
            <a:r>
              <a:rPr lang="en-US" altLang="ko-KR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terplolation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Gaussian smooth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적용 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07D5EC6-0E7A-5C6A-C7CF-AC4DADA21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829" y="4564578"/>
            <a:ext cx="6736089" cy="22187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1F4E9C1-CE24-C2F4-70F3-4B6DD9CDB461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4766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F1B8459B-5B75-2F1C-609C-A3274A2608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blation study (1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5CDC88-CE00-C252-F06B-18C43C42F48D}"/>
              </a:ext>
            </a:extLst>
          </p:cNvPr>
          <p:cNvSpPr txBox="1"/>
          <p:nvPr/>
        </p:nvSpPr>
        <p:spPr>
          <a:xfrm>
            <a:off x="208090" y="1241457"/>
            <a:ext cx="11775819" cy="1546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.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성능 평가 지표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mage-AUROC scor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전체 이미지를 이상 </a:t>
            </a: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r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으로 분류하는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ixel-AUROC score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이미지 내 개별 픽셀을 이상 또는 정상으로 분류하는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 : 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제 이상 영역의 형태와 경계를 얼마나 잘 </a:t>
            </a:r>
            <a:r>
              <a:rPr lang="ko-KR" altLang="en-US" sz="13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포착하는지의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능력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% : Subsampling</a:t>
            </a:r>
            <a:r>
              <a:rPr lang="ko-KR" altLang="en-US" sz="13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통해 전체 데이터에서 남겨둔 데이터의 비율</a:t>
            </a:r>
            <a:endParaRPr lang="en-US" altLang="ko-KR" sz="13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F044E58-C895-111F-D80D-0D171A3FDA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2822626"/>
            <a:ext cx="9365994" cy="392107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151901F-6414-7B81-A474-96D9A3E238D6}"/>
              </a:ext>
            </a:extLst>
          </p:cNvPr>
          <p:cNvSpPr txBox="1"/>
          <p:nvPr/>
        </p:nvSpPr>
        <p:spPr>
          <a:xfrm>
            <a:off x="254051" y="215378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7671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49</TotalTime>
  <Words>1130</Words>
  <Application>Microsoft Office PowerPoint</Application>
  <PresentationFormat>와이드스크린</PresentationFormat>
  <Paragraphs>179</Paragraphs>
  <Slides>21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21</vt:i4>
      </vt:variant>
    </vt:vector>
  </HeadingPairs>
  <TitlesOfParts>
    <vt:vector size="31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Cambria Math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463</cp:revision>
  <dcterms:created xsi:type="dcterms:W3CDTF">2023-02-24T09:29:18Z</dcterms:created>
  <dcterms:modified xsi:type="dcterms:W3CDTF">2024-05-09T00:26:25Z</dcterms:modified>
</cp:coreProperties>
</file>